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1409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68" d="100"/>
          <a:sy n="68" d="100"/>
        </p:scale>
        <p:origin x="816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6EB5C7-7F40-48B8-873A-715F09AC09F8}" type="datetimeFigureOut">
              <a:rPr lang="en-ZA" smtClean="0"/>
              <a:t>2021/10/01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519DD4-89DF-487A-AE36-8805E33BDEF1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7555694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B1926E-9BE0-3044-B04D-28E60E91ED2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Regular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Regula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05654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66058" y="2460535"/>
            <a:ext cx="6647543" cy="972240"/>
          </a:xfrm>
        </p:spPr>
        <p:txBody>
          <a:bodyPr anchor="t">
            <a:normAutofit/>
          </a:bodyPr>
          <a:lstStyle>
            <a:lvl1pPr algn="l">
              <a:defRPr sz="3733" b="0" i="0">
                <a:latin typeface="Arial Regular"/>
              </a:defRPr>
            </a:lvl1pPr>
          </a:lstStyle>
          <a:p>
            <a:r>
              <a:rPr lang="en-US"/>
              <a:t>Section divider option - 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6058" y="3602039"/>
            <a:ext cx="6647543" cy="1165572"/>
          </a:xfrm>
        </p:spPr>
        <p:txBody>
          <a:bodyPr>
            <a:normAutofit/>
          </a:bodyPr>
          <a:lstStyle>
            <a:lvl1pPr marL="0" indent="0" algn="l">
              <a:buNone/>
              <a:defRPr sz="2400" b="1" i="0">
                <a:latin typeface="Arial Bold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6E9199-EEEB-8741-AB5F-D1E32AA1ECE9}" type="datetimeFigureOut">
              <a:rPr lang="en-US" smtClean="0"/>
              <a:t>10/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A34C8-A052-B04D-8987-E687BB3AE466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A6F91A1-8630-3343-9A80-15162B8320A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72733" y="2065330"/>
            <a:ext cx="4184313" cy="479267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7E84072-DC7B-9F4E-A8E8-4437FCFC90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83382" t="6798" r="3824" b="67581"/>
          <a:stretch/>
        </p:blipFill>
        <p:spPr>
          <a:xfrm>
            <a:off x="11155148" y="344927"/>
            <a:ext cx="795965" cy="896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9602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Plain white backgroun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4E4DD9EF-D08C-324E-A2ED-1222B573DE45}"/>
              </a:ext>
            </a:extLst>
          </p:cNvPr>
          <p:cNvSpPr/>
          <p:nvPr userDrawn="1"/>
        </p:nvSpPr>
        <p:spPr>
          <a:xfrm>
            <a:off x="0" y="4555957"/>
            <a:ext cx="12192000" cy="23020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B29269E-CC50-9E47-AFBF-E87CB3C1DCE0}"/>
              </a:ext>
            </a:extLst>
          </p:cNvPr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1" y="410259"/>
            <a:ext cx="10216792" cy="831272"/>
          </a:xfrm>
        </p:spPr>
        <p:txBody>
          <a:bodyPr>
            <a:normAutofit/>
          </a:bodyPr>
          <a:lstStyle>
            <a:lvl1pPr>
              <a:defRPr sz="2667" b="1">
                <a:solidFill>
                  <a:srgbClr val="0A2F4E"/>
                </a:solidFill>
              </a:defRPr>
            </a:lvl1pPr>
          </a:lstStyle>
          <a:p>
            <a:r>
              <a:rPr lang="en-US"/>
              <a:t>Content slide - 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540895"/>
            <a:ext cx="10515600" cy="4636071"/>
          </a:xfrm>
        </p:spPr>
        <p:txBody>
          <a:bodyPr>
            <a:normAutofit/>
          </a:bodyPr>
          <a:lstStyle>
            <a:lvl1pPr marL="126997" indent="-126997">
              <a:tabLst/>
              <a:defRPr sz="1867" b="0">
                <a:solidFill>
                  <a:srgbClr val="0A2F4E"/>
                </a:solidFill>
              </a:defRPr>
            </a:lvl1pPr>
            <a:lvl2pPr marL="594769" indent="-137581">
              <a:tabLst/>
              <a:defRPr sz="1867" b="0">
                <a:solidFill>
                  <a:srgbClr val="0A2F4E"/>
                </a:solidFill>
              </a:defRPr>
            </a:lvl2pPr>
            <a:lvl3pPr marL="1075240" indent="-160863">
              <a:tabLst/>
              <a:defRPr sz="1867" b="0">
                <a:solidFill>
                  <a:srgbClr val="0A2F4E"/>
                </a:solidFill>
              </a:defRPr>
            </a:lvl3pPr>
            <a:lvl4pPr marL="1543012" indent="-171446">
              <a:tabLst/>
              <a:defRPr sz="1867" b="0">
                <a:solidFill>
                  <a:srgbClr val="0A2F4E"/>
                </a:solidFill>
              </a:defRPr>
            </a:lvl4pPr>
            <a:lvl5pPr marL="1957868" indent="-129114">
              <a:tabLst/>
              <a:defRPr sz="1867" b="0">
                <a:solidFill>
                  <a:srgbClr val="0A2F4E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6E9199-EEEB-8741-AB5F-D1E32AA1ECE9}" type="datetimeFigureOut">
              <a:rPr lang="en-US" smtClean="0"/>
              <a:t>10/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A34C8-A052-B04D-8987-E687BB3AE466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C3CB986F-8E2B-7C40-9052-D1D6371977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83382" t="6798" r="3824" b="67581"/>
          <a:stretch/>
        </p:blipFill>
        <p:spPr>
          <a:xfrm>
            <a:off x="11155148" y="344927"/>
            <a:ext cx="795965" cy="896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1506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_Pictur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76F2B7D-675D-1546-BB06-43F5206B91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3382" t="6798" r="3824" b="67581"/>
          <a:stretch/>
        </p:blipFill>
        <p:spPr>
          <a:xfrm>
            <a:off x="11155148" y="344927"/>
            <a:ext cx="795965" cy="896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571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493" imgH="496" progId="TCLayout.ActiveDocument.1">
                  <p:embed/>
                </p:oleObj>
              </mc:Choice>
              <mc:Fallback>
                <p:oleObj name="think-cell Slide" r:id="rId4" imgW="493" imgH="4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31843" y="484035"/>
            <a:ext cx="10169244" cy="351383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ZA" sz="2000" b="1" i="0" kern="1200" cap="none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ZA"/>
            </a:lvl5pPr>
          </a:lstStyle>
          <a:p>
            <a:pPr marL="0" lvl="0" indent="0" algn="l" defTabSz="514334" rtl="0" eaLnBrk="1" latinLnBrk="0" hangingPunct="1">
              <a:lnSpc>
                <a:spcPct val="100000"/>
              </a:lnSpc>
              <a:spcBef>
                <a:spcPct val="0"/>
              </a:spcBef>
              <a:buClr>
                <a:schemeClr val="tx2"/>
              </a:buClr>
              <a:buSzPct val="150000"/>
              <a:buFont typeface="Arial" panose="020B0604020202020204" pitchFamily="34" charset="0"/>
              <a:buNone/>
            </a:pPr>
            <a:r>
              <a:rPr lang="en-US"/>
              <a:t>Add slide title</a:t>
            </a:r>
            <a:endParaRPr lang="en-ZA"/>
          </a:p>
        </p:txBody>
      </p:sp>
      <p:sp>
        <p:nvSpPr>
          <p:cNvPr id="6" name="Text Placeholder 25"/>
          <p:cNvSpPr>
            <a:spLocks noGrp="1"/>
          </p:cNvSpPr>
          <p:nvPr>
            <p:ph idx="1"/>
          </p:nvPr>
        </p:nvSpPr>
        <p:spPr>
          <a:xfrm>
            <a:off x="673606" y="1212952"/>
            <a:ext cx="5142857" cy="25714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Add first level body copy</a:t>
            </a:r>
          </a:p>
          <a:p>
            <a:pPr lvl="1"/>
            <a:r>
              <a:rPr lang="en-US"/>
              <a:t>First level bullet 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ZA"/>
          </a:p>
        </p:txBody>
      </p:sp>
      <p:sp>
        <p:nvSpPr>
          <p:cNvPr id="5" name="Text Placeholder 25"/>
          <p:cNvSpPr>
            <a:spLocks noGrp="1"/>
          </p:cNvSpPr>
          <p:nvPr>
            <p:ph idx="15"/>
          </p:nvPr>
        </p:nvSpPr>
        <p:spPr>
          <a:xfrm>
            <a:off x="6378497" y="1212952"/>
            <a:ext cx="5142857" cy="25714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Add first level body copy</a:t>
            </a:r>
          </a:p>
          <a:p>
            <a:pPr lvl="1"/>
            <a:r>
              <a:rPr lang="en-US"/>
              <a:t>First level bullet 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ZA"/>
          </a:p>
        </p:txBody>
      </p:sp>
      <p:sp>
        <p:nvSpPr>
          <p:cNvPr id="8" name="Text Placeholder 25"/>
          <p:cNvSpPr>
            <a:spLocks noGrp="1"/>
          </p:cNvSpPr>
          <p:nvPr>
            <p:ph idx="16"/>
          </p:nvPr>
        </p:nvSpPr>
        <p:spPr>
          <a:xfrm>
            <a:off x="673606" y="4045604"/>
            <a:ext cx="5142857" cy="25714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Add first level body copy</a:t>
            </a:r>
          </a:p>
          <a:p>
            <a:pPr lvl="1"/>
            <a:r>
              <a:rPr lang="en-US"/>
              <a:t>First level bullet 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ZA"/>
          </a:p>
        </p:txBody>
      </p:sp>
      <p:sp>
        <p:nvSpPr>
          <p:cNvPr id="9" name="Text Placeholder 25"/>
          <p:cNvSpPr>
            <a:spLocks noGrp="1"/>
          </p:cNvSpPr>
          <p:nvPr>
            <p:ph idx="17"/>
          </p:nvPr>
        </p:nvSpPr>
        <p:spPr>
          <a:xfrm>
            <a:off x="6378497" y="4045604"/>
            <a:ext cx="5142857" cy="25714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Add first level body copy</a:t>
            </a:r>
          </a:p>
          <a:p>
            <a:pPr lvl="1"/>
            <a:r>
              <a:rPr lang="en-US"/>
              <a:t>First level bullet 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90716988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orient="horz" pos="48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5239" y="1316568"/>
            <a:ext cx="5444432" cy="503978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30360" y="1316567"/>
            <a:ext cx="5477933" cy="503978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E21444-2483-4410-A013-A331EAC985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D70949-FF7D-4349-BDE3-862900F6F529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1D68166-38DF-41CD-B6A1-7AF3CFB6CD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1410853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44801" y="2716069"/>
            <a:ext cx="6647543" cy="972240"/>
          </a:xfrm>
        </p:spPr>
        <p:txBody>
          <a:bodyPr anchor="t">
            <a:normAutofit/>
          </a:bodyPr>
          <a:lstStyle>
            <a:lvl1pPr algn="l">
              <a:defRPr sz="3733" b="0" i="0">
                <a:solidFill>
                  <a:schemeClr val="bg1"/>
                </a:solidFill>
                <a:latin typeface="Satisfy" panose="02000000000000000000" pitchFamily="2" charset="0"/>
                <a:ea typeface="Satisfy" panose="02000000000000000000" pitchFamily="2" charset="0"/>
              </a:defRPr>
            </a:lvl1pPr>
          </a:lstStyle>
          <a:p>
            <a:r>
              <a:rPr lang="en-US"/>
              <a:t>Section divider option - 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44801" y="3860283"/>
            <a:ext cx="6647543" cy="1165572"/>
          </a:xfrm>
        </p:spPr>
        <p:txBody>
          <a:bodyPr>
            <a:normAutofit/>
          </a:bodyPr>
          <a:lstStyle>
            <a:lvl1pPr marL="0" indent="0" algn="l">
              <a:buNone/>
              <a:defRPr sz="2400" b="1" i="0">
                <a:solidFill>
                  <a:schemeClr val="bg1"/>
                </a:solidFill>
                <a:latin typeface="Arial Bold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6E9199-EEEB-8741-AB5F-D1E32AA1ECE9}" type="datetimeFigureOut">
              <a:rPr lang="en-US" smtClean="0"/>
              <a:t>10/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A34C8-A052-B04D-8987-E687BB3AE466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A6F91A1-8630-3343-9A80-15162B8320A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72733" y="2065330"/>
            <a:ext cx="4184313" cy="479267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7E84072-DC7B-9F4E-A8E8-4437FCFC90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83382" t="6798" r="3824" b="67581"/>
          <a:stretch/>
        </p:blipFill>
        <p:spPr>
          <a:xfrm>
            <a:off x="11155148" y="344927"/>
            <a:ext cx="795965" cy="896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382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46809" y="2318506"/>
            <a:ext cx="8043527" cy="1272143"/>
          </a:xfrm>
        </p:spPr>
        <p:txBody>
          <a:bodyPr anchor="t">
            <a:spAutoFit/>
          </a:bodyPr>
          <a:lstStyle>
            <a:lvl1pPr algn="l">
              <a:lnSpc>
                <a:spcPct val="100000"/>
              </a:lnSpc>
              <a:defRPr sz="3733" b="1" i="0">
                <a:solidFill>
                  <a:schemeClr val="bg1"/>
                </a:solidFill>
                <a:latin typeface="Arial" panose="020B0604020202020204" pitchFamily="34" charset="0"/>
                <a:ea typeface="Satisfy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ection divider option - 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46809" y="3989736"/>
            <a:ext cx="8043527" cy="461665"/>
          </a:xfr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buNone/>
              <a:defRPr sz="2400" b="1" i="0">
                <a:solidFill>
                  <a:schemeClr val="bg1"/>
                </a:solidFill>
                <a:latin typeface="Arial Bold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6E9199-EEEB-8741-AB5F-D1E32AA1ECE9}" type="datetimeFigureOut">
              <a:rPr lang="en-US" smtClean="0"/>
              <a:t>10/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A34C8-A052-B04D-8987-E687BB3AE46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4963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5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46809" y="2318506"/>
            <a:ext cx="8043527" cy="1304972"/>
          </a:xfrm>
        </p:spPr>
        <p:txBody>
          <a:bodyPr anchor="t">
            <a:spAutoFit/>
          </a:bodyPr>
          <a:lstStyle>
            <a:lvl1pPr algn="l">
              <a:defRPr sz="4267" b="1" i="0">
                <a:solidFill>
                  <a:schemeClr val="bg1"/>
                </a:solidFill>
                <a:latin typeface="Arial" panose="020B0604020202020204" pitchFamily="34" charset="0"/>
                <a:ea typeface="Satisfy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ection divider option - 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46809" y="3595239"/>
            <a:ext cx="8043527" cy="461729"/>
          </a:xfrm>
        </p:spPr>
        <p:txBody>
          <a:bodyPr>
            <a:spAutoFit/>
          </a:bodyPr>
          <a:lstStyle>
            <a:lvl1pPr marL="0" indent="0" algn="l">
              <a:buNone/>
              <a:defRPr sz="2667" b="1" i="0">
                <a:solidFill>
                  <a:schemeClr val="bg1"/>
                </a:solidFill>
                <a:latin typeface="Arial Bold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6E9199-EEEB-8741-AB5F-D1E32AA1ECE9}" type="datetimeFigureOut">
              <a:rPr lang="en-US" smtClean="0"/>
              <a:t>10/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A34C8-A052-B04D-8987-E687BB3AE466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7E84072-DC7B-9F4E-A8E8-4437FCFC90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83382" t="6798" r="3824" b="67581"/>
          <a:stretch/>
        </p:blipFill>
        <p:spPr>
          <a:xfrm>
            <a:off x="11155148" y="344927"/>
            <a:ext cx="795965" cy="896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4868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6E9199-EEEB-8741-AB5F-D1E32AA1ECE9}" type="datetimeFigureOut">
              <a:rPr lang="en-US" smtClean="0"/>
              <a:t>10/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A34C8-A052-B04D-8987-E687BB3AE466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7E84072-DC7B-9F4E-A8E8-4437FCFC90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83382" t="6798" r="3824" b="67581"/>
          <a:stretch/>
        </p:blipFill>
        <p:spPr>
          <a:xfrm>
            <a:off x="11155148" y="344927"/>
            <a:ext cx="795965" cy="896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598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cludes bottom element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959583A-7B8C-B44B-BE04-0FCF74348858}"/>
              </a:ext>
            </a:extLst>
          </p:cNvPr>
          <p:cNvSpPr/>
          <p:nvPr userDrawn="1"/>
        </p:nvSpPr>
        <p:spPr>
          <a:xfrm>
            <a:off x="0" y="3"/>
            <a:ext cx="12192000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B29269E-CC50-9E47-AFBF-E87CB3C1DCE0}"/>
              </a:ext>
            </a:extLst>
          </p:cNvPr>
          <p:cNvSpPr/>
          <p:nvPr userDrawn="1"/>
        </p:nvSpPr>
        <p:spPr>
          <a:xfrm>
            <a:off x="0" y="2"/>
            <a:ext cx="12192000" cy="3892061"/>
          </a:xfrm>
          <a:prstGeom prst="rect">
            <a:avLst/>
          </a:prstGeom>
          <a:gradFill>
            <a:gsLst>
              <a:gs pos="50000">
                <a:srgbClr val="FFFFFF"/>
              </a:gs>
              <a:gs pos="0">
                <a:schemeClr val="bg1">
                  <a:alpha val="23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4" y="410259"/>
            <a:ext cx="10216793" cy="831272"/>
          </a:xfrm>
        </p:spPr>
        <p:txBody>
          <a:bodyPr>
            <a:normAutofit/>
          </a:bodyPr>
          <a:lstStyle>
            <a:lvl1pPr>
              <a:defRPr sz="2667" b="1">
                <a:solidFill>
                  <a:srgbClr val="0A2F4E"/>
                </a:solidFill>
              </a:defRPr>
            </a:lvl1pPr>
          </a:lstStyle>
          <a:p>
            <a:r>
              <a:rPr lang="en-US"/>
              <a:t>Content slide - 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540895"/>
            <a:ext cx="10515600" cy="4636071"/>
          </a:xfrm>
        </p:spPr>
        <p:txBody>
          <a:bodyPr>
            <a:normAutofit/>
          </a:bodyPr>
          <a:lstStyle>
            <a:lvl1pPr marL="126997" indent="-126997">
              <a:tabLst/>
              <a:defRPr sz="1867" b="0">
                <a:solidFill>
                  <a:srgbClr val="0A2F4E"/>
                </a:solidFill>
              </a:defRPr>
            </a:lvl1pPr>
            <a:lvl2pPr marL="594769" indent="-137581">
              <a:tabLst/>
              <a:defRPr sz="1867" b="0">
                <a:solidFill>
                  <a:srgbClr val="0A2F4E"/>
                </a:solidFill>
              </a:defRPr>
            </a:lvl2pPr>
            <a:lvl3pPr marL="1075240" indent="-160863">
              <a:tabLst/>
              <a:defRPr sz="1867" b="0">
                <a:solidFill>
                  <a:srgbClr val="0A2F4E"/>
                </a:solidFill>
              </a:defRPr>
            </a:lvl3pPr>
            <a:lvl4pPr marL="1543012" indent="-171446">
              <a:tabLst/>
              <a:defRPr sz="1867" b="0">
                <a:solidFill>
                  <a:srgbClr val="0A2F4E"/>
                </a:solidFill>
              </a:defRPr>
            </a:lvl4pPr>
            <a:lvl5pPr marL="1957868" indent="-129114">
              <a:tabLst/>
              <a:defRPr sz="1867" b="0">
                <a:solidFill>
                  <a:srgbClr val="0A2F4E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6E9199-EEEB-8741-AB5F-D1E32AA1ECE9}" type="datetimeFigureOut">
              <a:rPr lang="en-US" smtClean="0"/>
              <a:t>10/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A34C8-A052-B04D-8987-E687BB3AE466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FD49EEC6-CBC5-314A-B2DE-160850537A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83382" t="6798" r="3824" b="67581"/>
          <a:stretch/>
        </p:blipFill>
        <p:spPr>
          <a:xfrm>
            <a:off x="11155148" y="344927"/>
            <a:ext cx="795965" cy="896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997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Includes bottom element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B29269E-CC50-9E47-AFBF-E87CB3C1DCE0}"/>
              </a:ext>
            </a:extLst>
          </p:cNvPr>
          <p:cNvSpPr/>
          <p:nvPr userDrawn="1"/>
        </p:nvSpPr>
        <p:spPr>
          <a:xfrm>
            <a:off x="0" y="2"/>
            <a:ext cx="12192000" cy="3892061"/>
          </a:xfrm>
          <a:prstGeom prst="rect">
            <a:avLst/>
          </a:prstGeom>
          <a:gradFill>
            <a:gsLst>
              <a:gs pos="50000">
                <a:srgbClr val="FFFFFF"/>
              </a:gs>
              <a:gs pos="0">
                <a:schemeClr val="bg1">
                  <a:alpha val="23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4" y="410259"/>
            <a:ext cx="10216793" cy="831272"/>
          </a:xfrm>
        </p:spPr>
        <p:txBody>
          <a:bodyPr>
            <a:normAutofit/>
          </a:bodyPr>
          <a:lstStyle>
            <a:lvl1pPr>
              <a:defRPr sz="2667" b="1">
                <a:solidFill>
                  <a:srgbClr val="0A2F4E"/>
                </a:solidFill>
              </a:defRPr>
            </a:lvl1pPr>
          </a:lstStyle>
          <a:p>
            <a:r>
              <a:rPr lang="en-US"/>
              <a:t>Content slide - 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540895"/>
            <a:ext cx="10515600" cy="4636071"/>
          </a:xfrm>
        </p:spPr>
        <p:txBody>
          <a:bodyPr>
            <a:normAutofit/>
          </a:bodyPr>
          <a:lstStyle>
            <a:lvl1pPr marL="126997" indent="-126997">
              <a:tabLst/>
              <a:defRPr sz="1867" b="0">
                <a:solidFill>
                  <a:srgbClr val="0A2F4E"/>
                </a:solidFill>
              </a:defRPr>
            </a:lvl1pPr>
            <a:lvl2pPr marL="594769" indent="-137581">
              <a:tabLst/>
              <a:defRPr sz="1867" b="0">
                <a:solidFill>
                  <a:srgbClr val="0A2F4E"/>
                </a:solidFill>
              </a:defRPr>
            </a:lvl2pPr>
            <a:lvl3pPr marL="1075240" indent="-160863">
              <a:tabLst/>
              <a:defRPr sz="1867" b="0">
                <a:solidFill>
                  <a:srgbClr val="0A2F4E"/>
                </a:solidFill>
              </a:defRPr>
            </a:lvl3pPr>
            <a:lvl4pPr marL="1543012" indent="-171446">
              <a:tabLst/>
              <a:defRPr sz="1867" b="0">
                <a:solidFill>
                  <a:srgbClr val="0A2F4E"/>
                </a:solidFill>
              </a:defRPr>
            </a:lvl4pPr>
            <a:lvl5pPr marL="1957868" indent="-129114">
              <a:tabLst/>
              <a:defRPr sz="1867" b="0">
                <a:solidFill>
                  <a:srgbClr val="0A2F4E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6E9199-EEEB-8741-AB5F-D1E32AA1ECE9}" type="datetimeFigureOut">
              <a:rPr lang="en-US" smtClean="0"/>
              <a:t>10/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A34C8-A052-B04D-8987-E687BB3AE466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FD49EEC6-CBC5-314A-B2DE-160850537A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83382" t="6798" r="3824" b="67581"/>
          <a:stretch/>
        </p:blipFill>
        <p:spPr>
          <a:xfrm>
            <a:off x="11155148" y="344927"/>
            <a:ext cx="795965" cy="896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5433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o bottom element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4E4DD9EF-D08C-324E-A2ED-1222B573DE45}"/>
              </a:ext>
            </a:extLst>
          </p:cNvPr>
          <p:cNvSpPr/>
          <p:nvPr userDrawn="1"/>
        </p:nvSpPr>
        <p:spPr>
          <a:xfrm>
            <a:off x="0" y="4555957"/>
            <a:ext cx="12192000" cy="23020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B29269E-CC50-9E47-AFBF-E87CB3C1DCE0}"/>
              </a:ext>
            </a:extLst>
          </p:cNvPr>
          <p:cNvSpPr/>
          <p:nvPr userDrawn="1"/>
        </p:nvSpPr>
        <p:spPr>
          <a:xfrm>
            <a:off x="0" y="2"/>
            <a:ext cx="12192000" cy="3892061"/>
          </a:xfrm>
          <a:prstGeom prst="rect">
            <a:avLst/>
          </a:prstGeom>
          <a:gradFill>
            <a:gsLst>
              <a:gs pos="50000">
                <a:srgbClr val="FFFFFF"/>
              </a:gs>
              <a:gs pos="0">
                <a:schemeClr val="bg1">
                  <a:alpha val="23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1" y="410259"/>
            <a:ext cx="10216792" cy="831272"/>
          </a:xfrm>
        </p:spPr>
        <p:txBody>
          <a:bodyPr>
            <a:normAutofit/>
          </a:bodyPr>
          <a:lstStyle>
            <a:lvl1pPr>
              <a:defRPr sz="2667" b="1">
                <a:solidFill>
                  <a:srgbClr val="0A2F4E"/>
                </a:solidFill>
              </a:defRPr>
            </a:lvl1pPr>
          </a:lstStyle>
          <a:p>
            <a:r>
              <a:rPr lang="en-US"/>
              <a:t>Content slide - 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540895"/>
            <a:ext cx="10515600" cy="4636071"/>
          </a:xfrm>
        </p:spPr>
        <p:txBody>
          <a:bodyPr>
            <a:normAutofit/>
          </a:bodyPr>
          <a:lstStyle>
            <a:lvl1pPr marL="126997" indent="-126997">
              <a:tabLst/>
              <a:defRPr sz="1867" b="0">
                <a:solidFill>
                  <a:srgbClr val="0A2F4E"/>
                </a:solidFill>
              </a:defRPr>
            </a:lvl1pPr>
            <a:lvl2pPr marL="594769" indent="-137581">
              <a:tabLst/>
              <a:defRPr sz="1867" b="0">
                <a:solidFill>
                  <a:srgbClr val="0A2F4E"/>
                </a:solidFill>
              </a:defRPr>
            </a:lvl2pPr>
            <a:lvl3pPr marL="1075240" indent="-160863">
              <a:tabLst/>
              <a:defRPr sz="1867" b="0">
                <a:solidFill>
                  <a:srgbClr val="0A2F4E"/>
                </a:solidFill>
              </a:defRPr>
            </a:lvl3pPr>
            <a:lvl4pPr marL="1543012" indent="-171446">
              <a:tabLst/>
              <a:defRPr sz="1867" b="0">
                <a:solidFill>
                  <a:srgbClr val="0A2F4E"/>
                </a:solidFill>
              </a:defRPr>
            </a:lvl4pPr>
            <a:lvl5pPr marL="1957868" indent="-129114">
              <a:tabLst/>
              <a:defRPr sz="1867" b="0">
                <a:solidFill>
                  <a:srgbClr val="0A2F4E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6E9199-EEEB-8741-AB5F-D1E32AA1ECE9}" type="datetimeFigureOut">
              <a:rPr lang="en-US" smtClean="0"/>
              <a:t>10/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A34C8-A052-B04D-8987-E687BB3AE466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C3CB986F-8E2B-7C40-9052-D1D6371977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83382" t="6798" r="3824" b="67581"/>
          <a:stretch/>
        </p:blipFill>
        <p:spPr>
          <a:xfrm>
            <a:off x="11155148" y="344927"/>
            <a:ext cx="795965" cy="896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1137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for graph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BE00B2A-B6D1-6E42-A245-D90ADEE1CCAC}"/>
              </a:ext>
            </a:extLst>
          </p:cNvPr>
          <p:cNvSpPr/>
          <p:nvPr userDrawn="1"/>
        </p:nvSpPr>
        <p:spPr>
          <a:xfrm>
            <a:off x="0" y="3892065"/>
            <a:ext cx="12192000" cy="29659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B29269E-CC50-9E47-AFBF-E87CB3C1DCE0}"/>
              </a:ext>
            </a:extLst>
          </p:cNvPr>
          <p:cNvSpPr/>
          <p:nvPr userDrawn="1"/>
        </p:nvSpPr>
        <p:spPr>
          <a:xfrm>
            <a:off x="0" y="2"/>
            <a:ext cx="12192000" cy="3892061"/>
          </a:xfrm>
          <a:prstGeom prst="rect">
            <a:avLst/>
          </a:prstGeom>
          <a:gradFill>
            <a:gsLst>
              <a:gs pos="50000">
                <a:srgbClr val="FFFFFF"/>
              </a:gs>
              <a:gs pos="0">
                <a:schemeClr val="bg1">
                  <a:alpha val="23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4" y="410259"/>
            <a:ext cx="10216793" cy="831272"/>
          </a:xfrm>
        </p:spPr>
        <p:txBody>
          <a:bodyPr>
            <a:normAutofit/>
          </a:bodyPr>
          <a:lstStyle>
            <a:lvl1pPr>
              <a:defRPr sz="2667" b="1">
                <a:solidFill>
                  <a:srgbClr val="0A2F4E"/>
                </a:solidFill>
              </a:defRPr>
            </a:lvl1pPr>
          </a:lstStyle>
          <a:p>
            <a:r>
              <a:rPr lang="en-US"/>
              <a:t>Content slide - 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6E9199-EEEB-8741-AB5F-D1E32AA1ECE9}" type="datetimeFigureOut">
              <a:rPr lang="en-US" smtClean="0"/>
              <a:t>10/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A34C8-A052-B04D-8987-E687BB3AE466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FD49EEC6-CBC5-314A-B2DE-160850537A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83382" t="6798" r="3824" b="67581"/>
          <a:stretch/>
        </p:blipFill>
        <p:spPr>
          <a:xfrm>
            <a:off x="11155148" y="344927"/>
            <a:ext cx="795965" cy="896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136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86E9199-EEEB-8741-AB5F-D1E32AA1ECE9}" type="datetimeFigureOut">
              <a:rPr lang="en-US" smtClean="0"/>
              <a:t>10/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7A34C8-A052-B04D-8987-E687BB3AE46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80020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Arial Bold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667" b="0" i="0" kern="1200">
          <a:solidFill>
            <a:schemeClr val="tx1"/>
          </a:solidFill>
          <a:latin typeface="Arial Bold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133" b="0" i="0" kern="1200">
          <a:solidFill>
            <a:schemeClr val="tx1"/>
          </a:solidFill>
          <a:latin typeface="Arial Bold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b="0" i="0" kern="1200">
          <a:solidFill>
            <a:schemeClr val="tx1"/>
          </a:solidFill>
          <a:latin typeface="Arial Bold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Arial Bold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Arial Bold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extBox 86">
            <a:extLst>
              <a:ext uri="{FF2B5EF4-FFF2-40B4-BE49-F238E27FC236}">
                <a16:creationId xmlns:a16="http://schemas.microsoft.com/office/drawing/2014/main" id="{7E1D4ED9-CFFF-4F71-A3B4-E78F9227DB2C}"/>
              </a:ext>
            </a:extLst>
          </p:cNvPr>
          <p:cNvSpPr txBox="1"/>
          <p:nvPr/>
        </p:nvSpPr>
        <p:spPr>
          <a:xfrm>
            <a:off x="1" y="19902"/>
            <a:ext cx="89839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usiness case: 5 year view</a:t>
            </a:r>
            <a:endParaRPr kumimoji="0" lang="en-ZA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9C66EE6-1907-4181-AF30-5E62E3ADF175}"/>
              </a:ext>
            </a:extLst>
          </p:cNvPr>
          <p:cNvGraphicFramePr>
            <a:graphicFrameLocks noGrp="1"/>
          </p:cNvGraphicFramePr>
          <p:nvPr/>
        </p:nvGraphicFramePr>
        <p:xfrm>
          <a:off x="114301" y="1159095"/>
          <a:ext cx="11341978" cy="3405962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2008789">
                  <a:extLst>
                    <a:ext uri="{9D8B030D-6E8A-4147-A177-3AD203B41FA5}">
                      <a16:colId xmlns:a16="http://schemas.microsoft.com/office/drawing/2014/main" val="1589220413"/>
                    </a:ext>
                  </a:extLst>
                </a:gridCol>
                <a:gridCol w="1355835">
                  <a:extLst>
                    <a:ext uri="{9D8B030D-6E8A-4147-A177-3AD203B41FA5}">
                      <a16:colId xmlns:a16="http://schemas.microsoft.com/office/drawing/2014/main" val="1231313342"/>
                    </a:ext>
                  </a:extLst>
                </a:gridCol>
                <a:gridCol w="1271752">
                  <a:extLst>
                    <a:ext uri="{9D8B030D-6E8A-4147-A177-3AD203B41FA5}">
                      <a16:colId xmlns:a16="http://schemas.microsoft.com/office/drawing/2014/main" val="2643411023"/>
                    </a:ext>
                  </a:extLst>
                </a:gridCol>
                <a:gridCol w="1839311">
                  <a:extLst>
                    <a:ext uri="{9D8B030D-6E8A-4147-A177-3AD203B41FA5}">
                      <a16:colId xmlns:a16="http://schemas.microsoft.com/office/drawing/2014/main" val="361321465"/>
                    </a:ext>
                  </a:extLst>
                </a:gridCol>
                <a:gridCol w="1629103">
                  <a:extLst>
                    <a:ext uri="{9D8B030D-6E8A-4147-A177-3AD203B41FA5}">
                      <a16:colId xmlns:a16="http://schemas.microsoft.com/office/drawing/2014/main" val="457551673"/>
                    </a:ext>
                  </a:extLst>
                </a:gridCol>
                <a:gridCol w="1545021">
                  <a:extLst>
                    <a:ext uri="{9D8B030D-6E8A-4147-A177-3AD203B41FA5}">
                      <a16:colId xmlns:a16="http://schemas.microsoft.com/office/drawing/2014/main" val="4160000280"/>
                    </a:ext>
                  </a:extLst>
                </a:gridCol>
                <a:gridCol w="1692167">
                  <a:extLst>
                    <a:ext uri="{9D8B030D-6E8A-4147-A177-3AD203B41FA5}">
                      <a16:colId xmlns:a16="http://schemas.microsoft.com/office/drawing/2014/main" val="430214047"/>
                    </a:ext>
                  </a:extLst>
                </a:gridCol>
              </a:tblGrid>
              <a:tr h="459740"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Y</a:t>
                      </a:r>
                      <a:r>
                        <a:rPr lang="en-ZA" sz="15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ear</a:t>
                      </a:r>
                    </a:p>
                  </a:txBody>
                  <a:tcPr marL="12700" marR="12700" marT="1270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5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AS-IS Cost</a:t>
                      </a:r>
                      <a:endParaRPr lang="en-ZA" sz="15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5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SAP PCE Cost</a:t>
                      </a:r>
                      <a:endParaRPr lang="en-ZA" sz="15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b">
                    <a:solidFill>
                      <a:srgbClr val="104CA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SAP PCE Software </a:t>
                      </a:r>
                      <a:r>
                        <a:rPr lang="en-ZA" sz="15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reduction</a:t>
                      </a:r>
                    </a:p>
                  </a:txBody>
                  <a:tcPr marL="12700" marR="12700" marT="12700" marB="0" anchor="b">
                    <a:solidFill>
                      <a:srgbClr val="104CA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5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SAP PCE Saving</a:t>
                      </a:r>
                    </a:p>
                  </a:txBody>
                  <a:tcPr marL="12700" marR="12700" marT="12700" marB="0" anchor="b">
                    <a:solidFill>
                      <a:srgbClr val="104CA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5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Azure IAAS Cost</a:t>
                      </a:r>
                    </a:p>
                  </a:txBody>
                  <a:tcPr marL="12700" marR="12700" marT="12700" marB="0" anchor="b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Azure IAAS Saving</a:t>
                      </a:r>
                      <a:endParaRPr lang="en-ZA" sz="15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b"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0854947"/>
                  </a:ext>
                </a:extLst>
              </a:tr>
              <a:tr h="281501">
                <a:tc>
                  <a:txBody>
                    <a:bodyPr/>
                    <a:lstStyle/>
                    <a:p>
                      <a:pPr algn="l" fontAlgn="b"/>
                      <a:r>
                        <a:rPr lang="en-ZA" sz="15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1</a:t>
                      </a:r>
                      <a:endParaRPr lang="en-ZA" sz="15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5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R7 453 854</a:t>
                      </a:r>
                      <a:endParaRPr lang="en-ZA" sz="15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5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R9 024 110</a:t>
                      </a:r>
                    </a:p>
                  </a:txBody>
                  <a:tcPr marL="12700" marR="12700" marT="12700" marB="0" anchor="b">
                    <a:solidFill>
                      <a:srgbClr val="104CA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5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(R2 439 236)</a:t>
                      </a:r>
                    </a:p>
                  </a:txBody>
                  <a:tcPr marL="12700" marR="12700" marT="12700" marB="0" anchor="b">
                    <a:solidFill>
                      <a:srgbClr val="104CA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5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R868 980</a:t>
                      </a:r>
                    </a:p>
                  </a:txBody>
                  <a:tcPr marL="12700" marR="12700" marT="12700" marB="0" anchor="b">
                    <a:solidFill>
                      <a:srgbClr val="104CA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5800" rtl="0" eaLnBrk="1" fontAlgn="b" latinLnBrk="0" hangingPunct="1"/>
                      <a:r>
                        <a:rPr lang="en-ZA" sz="15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R6 233 789</a:t>
                      </a:r>
                    </a:p>
                  </a:txBody>
                  <a:tcPr marL="12700" marR="12700" marT="12700" marB="0" anchor="b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5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R1 852 133</a:t>
                      </a:r>
                      <a:endParaRPr lang="en-ZA" sz="15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b"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1014067"/>
                  </a:ext>
                </a:extLst>
              </a:tr>
              <a:tr h="281501">
                <a:tc>
                  <a:txBody>
                    <a:bodyPr/>
                    <a:lstStyle/>
                    <a:p>
                      <a:pPr algn="l" fontAlgn="b"/>
                      <a:r>
                        <a:rPr lang="en-ZA" sz="15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2</a:t>
                      </a:r>
                      <a:endParaRPr lang="en-ZA" sz="15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5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R7 453 854</a:t>
                      </a:r>
                      <a:endParaRPr lang="en-ZA" sz="15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5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R5 770 300</a:t>
                      </a:r>
                      <a:endParaRPr lang="en-ZA" sz="15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b">
                    <a:solidFill>
                      <a:srgbClr val="104CA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5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(R2 439 236)</a:t>
                      </a:r>
                    </a:p>
                  </a:txBody>
                  <a:tcPr marL="12700" marR="12700" marT="12700" marB="0" anchor="b">
                    <a:solidFill>
                      <a:srgbClr val="104CA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5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R4 122 790</a:t>
                      </a:r>
                    </a:p>
                  </a:txBody>
                  <a:tcPr marL="12700" marR="12700" marT="12700" marB="0" anchor="b">
                    <a:solidFill>
                      <a:srgbClr val="104CA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5800" rtl="0" eaLnBrk="1" fontAlgn="b" latinLnBrk="0" hangingPunct="1"/>
                      <a:r>
                        <a:rPr lang="en-ZA" sz="15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R5 769 789</a:t>
                      </a:r>
                    </a:p>
                  </a:txBody>
                  <a:tcPr marL="12700" marR="12700" marT="12700" marB="0" anchor="b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5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R2 316 133</a:t>
                      </a:r>
                      <a:endParaRPr lang="en-ZA" sz="15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b"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7921609"/>
                  </a:ext>
                </a:extLst>
              </a:tr>
              <a:tr h="281501">
                <a:tc>
                  <a:txBody>
                    <a:bodyPr/>
                    <a:lstStyle/>
                    <a:p>
                      <a:pPr algn="l" fontAlgn="b"/>
                      <a:r>
                        <a:rPr lang="en-ZA" sz="15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3</a:t>
                      </a:r>
                      <a:endParaRPr lang="en-ZA" sz="15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5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R7 453 854</a:t>
                      </a:r>
                      <a:endParaRPr lang="en-ZA" sz="15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5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R5 156 826</a:t>
                      </a:r>
                      <a:endParaRPr lang="en-ZA" sz="15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b">
                    <a:solidFill>
                      <a:srgbClr val="104CA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5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(R2 439 236)</a:t>
                      </a:r>
                    </a:p>
                  </a:txBody>
                  <a:tcPr marL="12700" marR="12700" marT="12700" marB="0" anchor="b">
                    <a:solidFill>
                      <a:srgbClr val="104CA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5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R4 736 264</a:t>
                      </a:r>
                    </a:p>
                  </a:txBody>
                  <a:tcPr marL="12700" marR="12700" marT="12700" marB="0" anchor="b">
                    <a:solidFill>
                      <a:srgbClr val="104CA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5800" rtl="0" eaLnBrk="1" fontAlgn="b" latinLnBrk="0" hangingPunct="1"/>
                      <a:r>
                        <a:rPr lang="en-ZA" sz="15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R5 769 789</a:t>
                      </a:r>
                    </a:p>
                  </a:txBody>
                  <a:tcPr marL="12700" marR="12700" marT="12700" marB="0" anchor="b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R2 316 133</a:t>
                      </a:r>
                      <a:endParaRPr lang="en-ZA" sz="15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b"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6697123"/>
                  </a:ext>
                </a:extLst>
              </a:tr>
              <a:tr h="281501">
                <a:tc>
                  <a:txBody>
                    <a:bodyPr/>
                    <a:lstStyle/>
                    <a:p>
                      <a:pPr algn="l" fontAlgn="b"/>
                      <a:r>
                        <a:rPr lang="en-ZA" sz="15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4</a:t>
                      </a:r>
                      <a:endParaRPr lang="en-ZA" sz="15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5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 R7 453 854</a:t>
                      </a:r>
                      <a:endParaRPr lang="en-ZA" sz="15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5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R5 156 826</a:t>
                      </a:r>
                      <a:endParaRPr lang="en-ZA" sz="15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b">
                    <a:solidFill>
                      <a:srgbClr val="104CA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5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(R2 439 236)</a:t>
                      </a:r>
                    </a:p>
                  </a:txBody>
                  <a:tcPr marL="12700" marR="12700" marT="12700" marB="0" anchor="b">
                    <a:solidFill>
                      <a:srgbClr val="104CA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5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R4 736 264</a:t>
                      </a:r>
                    </a:p>
                  </a:txBody>
                  <a:tcPr marL="12700" marR="12700" marT="12700" marB="0" anchor="b">
                    <a:solidFill>
                      <a:srgbClr val="104CA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5800" rtl="0" eaLnBrk="1" fontAlgn="b" latinLnBrk="0" hangingPunct="1"/>
                      <a:r>
                        <a:rPr lang="en-ZA" sz="15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R5 769 789</a:t>
                      </a:r>
                    </a:p>
                  </a:txBody>
                  <a:tcPr marL="12700" marR="12700" marT="12700" marB="0" anchor="b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R2 316 133</a:t>
                      </a:r>
                      <a:endParaRPr lang="en-ZA" sz="15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b"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4781103"/>
                  </a:ext>
                </a:extLst>
              </a:tr>
              <a:tr h="281501">
                <a:tc>
                  <a:txBody>
                    <a:bodyPr/>
                    <a:lstStyle/>
                    <a:p>
                      <a:pPr algn="l" fontAlgn="b"/>
                      <a:r>
                        <a:rPr lang="en-ZA" sz="15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5</a:t>
                      </a:r>
                      <a:endParaRPr lang="en-ZA" sz="15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5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R7 453 854</a:t>
                      </a:r>
                      <a:endParaRPr lang="en-ZA" sz="15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5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R4 853 126</a:t>
                      </a:r>
                      <a:endParaRPr lang="en-ZA" sz="15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b">
                    <a:solidFill>
                      <a:srgbClr val="104CA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5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(R2 439 236)</a:t>
                      </a:r>
                    </a:p>
                  </a:txBody>
                  <a:tcPr marL="12700" marR="12700" marT="12700" marB="0" anchor="b">
                    <a:solidFill>
                      <a:srgbClr val="104CA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5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R5 039 964</a:t>
                      </a:r>
                    </a:p>
                  </a:txBody>
                  <a:tcPr marL="12700" marR="12700" marT="12700" marB="0" anchor="b">
                    <a:solidFill>
                      <a:srgbClr val="104CA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5800" rtl="0" eaLnBrk="1" fontAlgn="b" latinLnBrk="0" hangingPunct="1"/>
                      <a:r>
                        <a:rPr lang="en-ZA" sz="15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R5 769 789</a:t>
                      </a:r>
                    </a:p>
                  </a:txBody>
                  <a:tcPr marL="12700" marR="12700" marT="12700" marB="0" anchor="b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R2 316 133</a:t>
                      </a:r>
                      <a:endParaRPr lang="en-ZA" sz="15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b"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5474767"/>
                  </a:ext>
                </a:extLst>
              </a:tr>
              <a:tr h="509519">
                <a:tc>
                  <a:txBody>
                    <a:bodyPr/>
                    <a:lstStyle/>
                    <a:p>
                      <a:pPr algn="l" fontAlgn="b"/>
                      <a:r>
                        <a:rPr lang="en-ZA" sz="15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Total</a:t>
                      </a:r>
                      <a:endParaRPr lang="en-ZA" sz="15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5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R37 269 270*</a:t>
                      </a:r>
                    </a:p>
                  </a:txBody>
                  <a:tcPr marL="12700" marR="12700" marT="1270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5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R29 961 188</a:t>
                      </a:r>
                    </a:p>
                  </a:txBody>
                  <a:tcPr marL="12700" marR="12700" marT="12700" marB="0" anchor="b">
                    <a:solidFill>
                      <a:srgbClr val="104CA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5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(R12 196 180)*</a:t>
                      </a:r>
                    </a:p>
                  </a:txBody>
                  <a:tcPr marL="12700" marR="12700" marT="12700" marB="0" anchor="b">
                    <a:solidFill>
                      <a:srgbClr val="104CA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5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R19 504 262</a:t>
                      </a:r>
                    </a:p>
                  </a:txBody>
                  <a:tcPr marL="12700" marR="12700" marT="12700" marB="0" anchor="b">
                    <a:solidFill>
                      <a:srgbClr val="104CA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5800" rtl="0" eaLnBrk="1" fontAlgn="b" latinLnBrk="0" hangingPunct="1"/>
                      <a:r>
                        <a:rPr lang="en-ZA" sz="15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R29 312 946</a:t>
                      </a:r>
                    </a:p>
                  </a:txBody>
                  <a:tcPr marL="12700" marR="12700" marT="12700" marB="0" anchor="b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5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R11 116 665</a:t>
                      </a:r>
                      <a:endParaRPr lang="en-ZA" sz="1500" b="1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b"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292731"/>
                  </a:ext>
                </a:extLst>
              </a:tr>
              <a:tr h="509519"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b="0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Group Shelf ware Reduction</a:t>
                      </a:r>
                      <a:endParaRPr lang="en-ZA" sz="15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5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-</a:t>
                      </a:r>
                      <a:endParaRPr lang="en-ZA" sz="150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5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-</a:t>
                      </a:r>
                      <a:endParaRPr lang="en-ZA" sz="150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b">
                    <a:solidFill>
                      <a:srgbClr val="104CA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5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-</a:t>
                      </a:r>
                      <a:endParaRPr lang="en-ZA" sz="150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b">
                    <a:solidFill>
                      <a:srgbClr val="104CA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5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R12  249 135</a:t>
                      </a:r>
                    </a:p>
                  </a:txBody>
                  <a:tcPr marL="12700" marR="12700" marT="12700" marB="0" anchor="b">
                    <a:solidFill>
                      <a:srgbClr val="104CA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5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-</a:t>
                      </a:r>
                      <a:endParaRPr lang="en-ZA" sz="150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b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5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-</a:t>
                      </a:r>
                      <a:endParaRPr lang="en-ZA" sz="150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b"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6784363"/>
                  </a:ext>
                </a:extLst>
              </a:tr>
              <a:tr h="509519"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Group TCO Reduction</a:t>
                      </a:r>
                      <a:endParaRPr lang="en-ZA" sz="15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ZA" sz="1500" b="1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ZA" sz="1500" b="1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b">
                    <a:solidFill>
                      <a:srgbClr val="104CA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ZA" sz="1500" b="1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b">
                    <a:solidFill>
                      <a:srgbClr val="104CA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5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R31 753 397</a:t>
                      </a:r>
                    </a:p>
                  </a:txBody>
                  <a:tcPr marL="12700" marR="12700" marT="12700" marB="0" anchor="b">
                    <a:solidFill>
                      <a:srgbClr val="104CA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ZA" sz="1500" b="1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b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R11 116 665</a:t>
                      </a:r>
                      <a:endParaRPr lang="en-ZA" sz="1500" b="1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b"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6496601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1D4E2F7C-55D3-448C-BC3F-AAB3805763F4}"/>
              </a:ext>
            </a:extLst>
          </p:cNvPr>
          <p:cNvSpPr/>
          <p:nvPr/>
        </p:nvSpPr>
        <p:spPr>
          <a:xfrm>
            <a:off x="114299" y="726831"/>
            <a:ext cx="11341976" cy="3452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cted Finance 5 year View</a:t>
            </a: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367A74E-D966-4B95-9FFE-FB756F4103EA}"/>
              </a:ext>
            </a:extLst>
          </p:cNvPr>
          <p:cNvSpPr txBox="1"/>
          <p:nvPr/>
        </p:nvSpPr>
        <p:spPr>
          <a:xfrm>
            <a:off x="4885571" y="4929465"/>
            <a:ext cx="696435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This is a breakdown of the current Finance Technology BOBJ Licences. We are waiting for procurement to confirm where the Finance 2 maintenance costs are paid from but it could mean the recovery for Finance Technology could be the 15 356 524 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C160EB0-15E4-43E8-85A4-9BAF5D8E45DC}"/>
              </a:ext>
            </a:extLst>
          </p:cNvPr>
          <p:cNvGraphicFramePr>
            <a:graphicFrameLocks noGrp="1"/>
          </p:cNvGraphicFramePr>
          <p:nvPr/>
        </p:nvGraphicFramePr>
        <p:xfrm>
          <a:off x="182492" y="4682905"/>
          <a:ext cx="4115408" cy="2032000"/>
        </p:xfrm>
        <a:graphic>
          <a:graphicData uri="http://schemas.openxmlformats.org/drawingml/2006/table">
            <a:tbl>
              <a:tblPr/>
              <a:tblGrid>
                <a:gridCol w="2748841">
                  <a:extLst>
                    <a:ext uri="{9D8B030D-6E8A-4147-A177-3AD203B41FA5}">
                      <a16:colId xmlns:a16="http://schemas.microsoft.com/office/drawing/2014/main" val="2697283849"/>
                    </a:ext>
                  </a:extLst>
                </a:gridCol>
                <a:gridCol w="1366567">
                  <a:extLst>
                    <a:ext uri="{9D8B030D-6E8A-4147-A177-3AD203B41FA5}">
                      <a16:colId xmlns:a16="http://schemas.microsoft.com/office/drawing/2014/main" val="3065510330"/>
                    </a:ext>
                  </a:extLst>
                </a:gridCol>
              </a:tblGrid>
              <a:tr h="254000">
                <a:tc>
                  <a:txBody>
                    <a:bodyPr/>
                    <a:lstStyle/>
                    <a:p>
                      <a:pPr algn="l" fontAlgn="ctr"/>
                      <a:r>
                        <a:rPr lang="en-ZA" sz="13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OBJ Finance 1 </a:t>
                      </a:r>
                    </a:p>
                  </a:txBody>
                  <a:tcPr marL="12700" marR="12700" marT="127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3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3071092"/>
                  </a:ext>
                </a:extLst>
              </a:tr>
              <a:tr h="254000">
                <a:tc>
                  <a:txBody>
                    <a:bodyPr/>
                    <a:lstStyle/>
                    <a:p>
                      <a:pPr algn="l" fontAlgn="ctr"/>
                      <a:r>
                        <a:rPr lang="en-ZA" sz="13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650 named</a:t>
                      </a:r>
                    </a:p>
                  </a:txBody>
                  <a:tcPr marL="12700" marR="12700" marT="127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3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R    1 582 339 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7142143"/>
                  </a:ext>
                </a:extLst>
              </a:tr>
              <a:tr h="254000">
                <a:tc>
                  <a:txBody>
                    <a:bodyPr/>
                    <a:lstStyle/>
                    <a:p>
                      <a:pPr algn="l" fontAlgn="ctr"/>
                      <a:r>
                        <a:rPr lang="en-ZA" sz="13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10 concurrent </a:t>
                      </a:r>
                    </a:p>
                  </a:txBody>
                  <a:tcPr marL="12700" marR="12700" marT="127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R       856 897 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0851734"/>
                  </a:ext>
                </a:extLst>
              </a:tr>
              <a:tr h="254000">
                <a:tc>
                  <a:txBody>
                    <a:bodyPr/>
                    <a:lstStyle/>
                    <a:p>
                      <a:pPr algn="l" fontAlgn="ctr"/>
                      <a:r>
                        <a:rPr lang="en-ZA" sz="13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OBJ Finance 2</a:t>
                      </a:r>
                    </a:p>
                  </a:txBody>
                  <a:tcPr marL="12700" marR="12700" marT="127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3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2767821"/>
                  </a:ext>
                </a:extLst>
              </a:tr>
              <a:tr h="254000">
                <a:tc>
                  <a:txBody>
                    <a:bodyPr/>
                    <a:lstStyle/>
                    <a:p>
                      <a:pPr algn="l" fontAlgn="ctr"/>
                      <a:r>
                        <a:rPr lang="en-ZA" sz="13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9 named </a:t>
                      </a:r>
                    </a:p>
                  </a:txBody>
                  <a:tcPr marL="12700" marR="12700" marT="127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R          21 915 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4660787"/>
                  </a:ext>
                </a:extLst>
              </a:tr>
              <a:tr h="254000">
                <a:tc>
                  <a:txBody>
                    <a:bodyPr/>
                    <a:lstStyle/>
                    <a:p>
                      <a:pPr algn="l" fontAlgn="ctr"/>
                      <a:r>
                        <a:rPr lang="en-ZA" sz="13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80 concurrent </a:t>
                      </a:r>
                    </a:p>
                  </a:txBody>
                  <a:tcPr marL="12700" marR="12700" marT="127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R       610 153 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96166242"/>
                  </a:ext>
                </a:extLst>
              </a:tr>
              <a:tr h="254000">
                <a:tc>
                  <a:txBody>
                    <a:bodyPr/>
                    <a:lstStyle/>
                    <a:p>
                      <a:pPr algn="l" fontAlgn="ctr"/>
                      <a:r>
                        <a:rPr lang="en-ZA" sz="13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otal  maintenance  </a:t>
                      </a:r>
                    </a:p>
                  </a:txBody>
                  <a:tcPr marL="12700" marR="12700" marT="127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3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R    3 071 305 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3447355"/>
                  </a:ext>
                </a:extLst>
              </a:tr>
              <a:tr h="254000">
                <a:tc>
                  <a:txBody>
                    <a:bodyPr/>
                    <a:lstStyle/>
                    <a:p>
                      <a:pPr algn="l" fontAlgn="ctr"/>
                      <a:r>
                        <a:rPr lang="en-ZA" sz="13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5 Year View</a:t>
                      </a:r>
                    </a:p>
                  </a:txBody>
                  <a:tcPr marL="12700" marR="12700" marT="127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R  15 356 524 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0940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8287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Custom 13">
      <a:dk1>
        <a:srgbClr val="0A2F4E"/>
      </a:dk1>
      <a:lt1>
        <a:srgbClr val="FFFFFF"/>
      </a:lt1>
      <a:dk2>
        <a:srgbClr val="104CA8"/>
      </a:dk2>
      <a:lt2>
        <a:srgbClr val="E7E6E6"/>
      </a:lt2>
      <a:accent1>
        <a:srgbClr val="FBB643"/>
      </a:accent1>
      <a:accent2>
        <a:srgbClr val="104CA8"/>
      </a:accent2>
      <a:accent3>
        <a:srgbClr val="0A2F4E"/>
      </a:accent3>
      <a:accent4>
        <a:srgbClr val="FFC000"/>
      </a:accent4>
      <a:accent5>
        <a:srgbClr val="0C304D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70</Words>
  <Application>Microsoft Office PowerPoint</Application>
  <PresentationFormat>Widescreen</PresentationFormat>
  <Paragraphs>7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Arial Bold</vt:lpstr>
      <vt:lpstr>Arial Regular</vt:lpstr>
      <vt:lpstr>Calibri</vt:lpstr>
      <vt:lpstr>Satisfy</vt:lpstr>
      <vt:lpstr>2_Office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reen, Steven J</dc:creator>
  <cp:lastModifiedBy>Green, Steven J</cp:lastModifiedBy>
  <cp:revision>1</cp:revision>
  <dcterms:created xsi:type="dcterms:W3CDTF">2021-10-01T06:58:02Z</dcterms:created>
  <dcterms:modified xsi:type="dcterms:W3CDTF">2021-10-01T06:58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27a3850-2850-457c-8efb-fdd5fa4d27d3_Enabled">
    <vt:lpwstr>true</vt:lpwstr>
  </property>
  <property fmtid="{D5CDD505-2E9C-101B-9397-08002B2CF9AE}" pid="3" name="MSIP_Label_027a3850-2850-457c-8efb-fdd5fa4d27d3_SetDate">
    <vt:lpwstr>2021-10-01T06:58:35Z</vt:lpwstr>
  </property>
  <property fmtid="{D5CDD505-2E9C-101B-9397-08002B2CF9AE}" pid="4" name="MSIP_Label_027a3850-2850-457c-8efb-fdd5fa4d27d3_Method">
    <vt:lpwstr>Standard</vt:lpwstr>
  </property>
  <property fmtid="{D5CDD505-2E9C-101B-9397-08002B2CF9AE}" pid="5" name="MSIP_Label_027a3850-2850-457c-8efb-fdd5fa4d27d3_Name">
    <vt:lpwstr>027a3850-2850-457c-8efb-fdd5fa4d27d3</vt:lpwstr>
  </property>
  <property fmtid="{D5CDD505-2E9C-101B-9397-08002B2CF9AE}" pid="6" name="MSIP_Label_027a3850-2850-457c-8efb-fdd5fa4d27d3_SiteId">
    <vt:lpwstr>7369e6ec-faa6-42fa-bc0e-4f332da5b1db</vt:lpwstr>
  </property>
  <property fmtid="{D5CDD505-2E9C-101B-9397-08002B2CF9AE}" pid="7" name="MSIP_Label_027a3850-2850-457c-8efb-fdd5fa4d27d3_ActionId">
    <vt:lpwstr>b79426d8-2cdc-4dae-9f27-2beeccc904f4</vt:lpwstr>
  </property>
  <property fmtid="{D5CDD505-2E9C-101B-9397-08002B2CF9AE}" pid="8" name="MSIP_Label_027a3850-2850-457c-8efb-fdd5fa4d27d3_ContentBits">
    <vt:lpwstr>0</vt:lpwstr>
  </property>
</Properties>
</file>